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sldIdLst>
    <p:sldId id="267" r:id="rId5"/>
    <p:sldId id="268" r:id="rId6"/>
    <p:sldId id="269" r:id="rId7"/>
    <p:sldId id="270" r:id="rId8"/>
    <p:sldId id="271" r:id="rId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3" d="100"/>
          <a:sy n="63" d="100"/>
        </p:scale>
        <p:origin x="1378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26F3DD-65F6-4AD1-B232-1E06156E00D5}" type="datetimeFigureOut">
              <a:rPr lang="en-US" smtClean="0"/>
              <a:t>2/23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13E61B-A088-46AC-BAAC-041BE82373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7239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13E61B-A088-46AC-BAAC-041BE823730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809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5.1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02/23/18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5677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5.1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02/23/18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2987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5.1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02/23/18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595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5.1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02/23/18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6965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5.1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02/23/18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3744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5.1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02/23/18 Revision:  B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2415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5.12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02/23/18 Revision:  B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80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5.12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02/23/18 Revision:  B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8647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5.12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02/23/18 Revision:  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0347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5.1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02/23/18 Revision:  B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5195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5.1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02/23/18 Revision:  B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3146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SCMT 5.1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pproved by: F Mariot  Approval date: 02/23/18 Revision:  B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FA8568-14CA-42AA-9963-CE818B5D5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746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jpe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720975"/>
            <a:ext cx="7772400" cy="1470025"/>
          </a:xfrm>
        </p:spPr>
        <p:txBody>
          <a:bodyPr>
            <a:normAutofit/>
          </a:bodyPr>
          <a:lstStyle/>
          <a:p>
            <a:pPr algn="l"/>
            <a:r>
              <a:rPr lang="en-US" sz="2700" dirty="0"/>
              <a:t>Supplier View of Supplier Profile – </a:t>
            </a:r>
            <a:r>
              <a:rPr lang="en-US" sz="2700"/>
              <a:t>TSCMT 5.12</a:t>
            </a:r>
            <a:br>
              <a:rPr lang="en-US" sz="2700" dirty="0"/>
            </a:br>
            <a:r>
              <a:rPr lang="en-US" sz="2000" dirty="0"/>
              <a:t>Scope: Displays and explains content of the supplier profile</a:t>
            </a:r>
            <a:endParaRPr lang="en-US" sz="3200" dirty="0"/>
          </a:p>
        </p:txBody>
      </p:sp>
      <p:pic>
        <p:nvPicPr>
          <p:cNvPr id="4" name="Picture 11" descr="TG_2C.jp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85874" y="652689"/>
            <a:ext cx="2160588" cy="67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65113" y="2036763"/>
            <a:ext cx="861377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" name="Rectangle 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301625" y="5030788"/>
            <a:ext cx="861377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02/23/18 Revision:  B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1</a:t>
            </a:fld>
            <a:endParaRPr lang="en-US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5.12</a:t>
            </a:r>
          </a:p>
        </p:txBody>
      </p:sp>
    </p:spTree>
    <p:extLst>
      <p:ext uri="{BB962C8B-B14F-4D97-AF65-F5344CB8AC3E}">
        <p14:creationId xmlns:p14="http://schemas.microsoft.com/office/powerpoint/2010/main" val="1045089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8EA7728-DE15-49C7-8CDC-0830CBC4B1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0" y="871586"/>
            <a:ext cx="8001000" cy="4870846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5.12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02/23/18 Revision:  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2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304800" y="304800"/>
            <a:ext cx="4159087" cy="307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/>
              <a:t>Step 1.  Log on to portal, then click on “VIEW PROFILE”</a:t>
            </a:r>
          </a:p>
        </p:txBody>
      </p:sp>
      <p:cxnSp>
        <p:nvCxnSpPr>
          <p:cNvPr id="15" name="Straight Arrow Connector 14"/>
          <p:cNvCxnSpPr>
            <a:cxnSpLocks/>
          </p:cNvCxnSpPr>
          <p:nvPr/>
        </p:nvCxnSpPr>
        <p:spPr>
          <a:xfrm>
            <a:off x="3810000" y="612577"/>
            <a:ext cx="3276600" cy="61391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80102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A607F750-799E-4655-9A50-D6BA45D7DB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45012"/>
            <a:ext cx="8686800" cy="6011339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5.12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02/23/18 Revision:  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3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24384" y="37235"/>
            <a:ext cx="3546227" cy="307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/>
              <a:t>Corporate profile information is displayed first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6C5043F-F997-4136-8C2F-0F525CA815FF}"/>
              </a:ext>
            </a:extLst>
          </p:cNvPr>
          <p:cNvGrpSpPr/>
          <p:nvPr/>
        </p:nvGrpSpPr>
        <p:grpSpPr>
          <a:xfrm>
            <a:off x="1600200" y="3949387"/>
            <a:ext cx="6867129" cy="1625024"/>
            <a:chOff x="1632098" y="4114800"/>
            <a:chExt cx="6867129" cy="1625024"/>
          </a:xfrm>
        </p:grpSpPr>
        <p:sp>
          <p:nvSpPr>
            <p:cNvPr id="7" name="TextBox 6"/>
            <p:cNvSpPr txBox="1"/>
            <p:nvPr/>
          </p:nvSpPr>
          <p:spPr>
            <a:xfrm>
              <a:off x="5486400" y="4114800"/>
              <a:ext cx="3012827" cy="1169551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Majority of these fields are self-explanatory.  </a:t>
              </a:r>
            </a:p>
            <a:p>
              <a:r>
                <a:rPr lang="en-US" sz="1400" dirty="0"/>
                <a:t>For more information on a certain field, you can click on the question mark adjacent to the field label.</a:t>
              </a:r>
            </a:p>
          </p:txBody>
        </p:sp>
        <p:cxnSp>
          <p:nvCxnSpPr>
            <p:cNvPr id="10" name="Straight Arrow Connector 9"/>
            <p:cNvCxnSpPr/>
            <p:nvPr/>
          </p:nvCxnSpPr>
          <p:spPr>
            <a:xfrm flipH="1">
              <a:off x="2042471" y="4495800"/>
              <a:ext cx="3408487" cy="1244024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Arrow Connector 7"/>
            <p:cNvCxnSpPr/>
            <p:nvPr/>
          </p:nvCxnSpPr>
          <p:spPr>
            <a:xfrm flipH="1">
              <a:off x="1632098" y="4495800"/>
              <a:ext cx="3818860" cy="876918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Box 11"/>
          <p:cNvSpPr txBox="1"/>
          <p:nvPr/>
        </p:nvSpPr>
        <p:spPr>
          <a:xfrm>
            <a:off x="6228395" y="1349743"/>
            <a:ext cx="2610805" cy="16004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The address noted here is the suppliers main office address.  Typically, it reflects the address  that is noted on the suppliers 3</a:t>
            </a:r>
            <a:r>
              <a:rPr lang="en-US" sz="1400" baseline="30000" dirty="0"/>
              <a:t>rd</a:t>
            </a:r>
            <a:r>
              <a:rPr lang="en-US" sz="1400" dirty="0"/>
              <a:t> party QMS certificate as primary, or central if the supplier has multiple addresses on the cert.</a:t>
            </a:r>
          </a:p>
        </p:txBody>
      </p:sp>
      <p:cxnSp>
        <p:nvCxnSpPr>
          <p:cNvPr id="13" name="Straight Arrow Connector 12"/>
          <p:cNvCxnSpPr>
            <a:cxnSpLocks/>
          </p:cNvCxnSpPr>
          <p:nvPr/>
        </p:nvCxnSpPr>
        <p:spPr>
          <a:xfrm flipH="1">
            <a:off x="2895601" y="2035543"/>
            <a:ext cx="3332795" cy="6055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27512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CE2CFCA-0A1E-4E4D-A555-0B91AD0645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92" y="507519"/>
            <a:ext cx="8565016" cy="5569152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5.12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02/23/18 Revision:  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4</a:t>
            </a:fld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3048" y="88776"/>
            <a:ext cx="3659079" cy="307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/>
              <a:t>Continuation of Corporate supplier information: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704589" y="4841358"/>
            <a:ext cx="3012827" cy="16004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The Company Supplier Profile section will display all of the Triumph Group Companies that may be doing business with the supplier.  To expand the information associated with a specific Company click in the box adjacent to the Unit name.</a:t>
            </a:r>
          </a:p>
        </p:txBody>
      </p:sp>
      <p:cxnSp>
        <p:nvCxnSpPr>
          <p:cNvPr id="15" name="Straight Arrow Connector 14"/>
          <p:cNvCxnSpPr/>
          <p:nvPr/>
        </p:nvCxnSpPr>
        <p:spPr>
          <a:xfrm flipH="1">
            <a:off x="2362199" y="5412977"/>
            <a:ext cx="3342390" cy="228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08346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F707AA5-40F3-4EF8-AC0A-47028080AC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30119"/>
            <a:ext cx="9144000" cy="5797761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TSCMT 5.12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Approved by: F Mariot  Approval date: 02/23/18 Revision:  B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FA8568-14CA-42AA-9963-CE818B5D5A90}" type="slidenum">
              <a:rPr lang="en-US" smtClean="0"/>
              <a:t>5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04800" y="304800"/>
            <a:ext cx="4254819" cy="307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/>
              <a:t>Display of the Business Unit supplier profile information</a:t>
            </a:r>
          </a:p>
        </p:txBody>
      </p:sp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2200" y="5181600"/>
            <a:ext cx="2495550" cy="1238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7" name="Straight Arrow Connector 16"/>
          <p:cNvCxnSpPr>
            <a:cxnSpLocks/>
            <a:stCxn id="15" idx="2"/>
          </p:cNvCxnSpPr>
          <p:nvPr/>
        </p:nvCxnSpPr>
        <p:spPr>
          <a:xfrm>
            <a:off x="4991100" y="5508951"/>
            <a:ext cx="1409700" cy="38150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5654923" y="136524"/>
            <a:ext cx="3012827" cy="13849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The “Supplier Company ID” - to the right of the supplier name is the Triumph Company's internal supplier ID number, as may be noted on purchase orders and other communications</a:t>
            </a:r>
          </a:p>
        </p:txBody>
      </p:sp>
      <p:cxnSp>
        <p:nvCxnSpPr>
          <p:cNvPr id="7" name="Straight Arrow Connector 6"/>
          <p:cNvCxnSpPr>
            <a:cxnSpLocks/>
          </p:cNvCxnSpPr>
          <p:nvPr/>
        </p:nvCxnSpPr>
        <p:spPr>
          <a:xfrm flipH="1">
            <a:off x="1714819" y="458688"/>
            <a:ext cx="3940104" cy="78886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2590800" y="4339400"/>
            <a:ext cx="4800600" cy="1169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/>
              <a:t>Contact your Triumph Business Unit Procurement or Quality Contact  to request any update to the information displayed. If no contact is listed, you can send an e-mail to the address displayed in the lower left-hand corner of the portal web page (click on link).</a:t>
            </a:r>
          </a:p>
        </p:txBody>
      </p:sp>
    </p:spTree>
    <p:extLst>
      <p:ext uri="{BB962C8B-B14F-4D97-AF65-F5344CB8AC3E}">
        <p14:creationId xmlns:p14="http://schemas.microsoft.com/office/powerpoint/2010/main" val="21079121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ygLssiI0WGMeqkG3T_O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vision_x0020_Level xmlns="97533b70-e757-4cf6-af5c-839a20f491f3">A</Revision_x0020_Level>
    <Effective_x0020_Date xmlns="97533b70-e757-4cf6-af5c-839a20f491f3">2017-02-11T05:00:00+00:00</Effective_x0020_Date>
    <Folder xmlns="97533b70-e757-4cf6-af5c-839a20f491f3">Section 5.0</Folder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F10189AE8F8BA40A42DB299DC54A450" ma:contentTypeVersion="12" ma:contentTypeDescription="Create a new document." ma:contentTypeScope="" ma:versionID="b6b5cb1ec20aecba40610593f80a0174">
  <xsd:schema xmlns:xsd="http://www.w3.org/2001/XMLSchema" xmlns:xs="http://www.w3.org/2001/XMLSchema" xmlns:p="http://schemas.microsoft.com/office/2006/metadata/properties" xmlns:ns2="97533b70-e757-4cf6-af5c-839a20f491f3" targetNamespace="http://schemas.microsoft.com/office/2006/metadata/properties" ma:root="true" ma:fieldsID="6a13a7c44b6e52365a9242c0d2dbbc45" ns2:_="">
    <xsd:import namespace="97533b70-e757-4cf6-af5c-839a20f491f3"/>
    <xsd:element name="properties">
      <xsd:complexType>
        <xsd:sequence>
          <xsd:element name="documentManagement">
            <xsd:complexType>
              <xsd:all>
                <xsd:element ref="ns2:Folder"/>
                <xsd:element ref="ns2:Revision_x0020_Level"/>
                <xsd:element ref="ns2:Effective_x0020_Date"/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533b70-e757-4cf6-af5c-839a20f491f3" elementFormDefault="qualified">
    <xsd:import namespace="http://schemas.microsoft.com/office/2006/documentManagement/types"/>
    <xsd:import namespace="http://schemas.microsoft.com/office/infopath/2007/PartnerControls"/>
    <xsd:element name="Folder" ma:index="4" ma:displayName="Folder" ma:default="Section 1.0" ma:format="Dropdown" ma:internalName="Folder" ma:readOnly="false">
      <xsd:simpleType>
        <xsd:restriction base="dms:Choice">
          <xsd:enumeration value="Section 1.0"/>
          <xsd:enumeration value="Section 2.0"/>
          <xsd:enumeration value="Section 3.0"/>
          <xsd:enumeration value="Section 4.0"/>
          <xsd:enumeration value="Section 5.0"/>
          <xsd:enumeration value="Section 6.0"/>
          <xsd:enumeration value="Section 7.0"/>
          <xsd:enumeration value="Section 8.0"/>
        </xsd:restriction>
      </xsd:simpleType>
    </xsd:element>
    <xsd:element name="Revision_x0020_Level" ma:index="5" ma:displayName="Revision Level" ma:internalName="Revision_x0020_Level" ma:readOnly="false">
      <xsd:simpleType>
        <xsd:restriction base="dms:Text">
          <xsd:maxLength value="255"/>
        </xsd:restriction>
      </xsd:simpleType>
    </xsd:element>
    <xsd:element name="Effective_x0020_Date" ma:index="6" ma:displayName="Effective Date" ma:format="DateOnly" ma:internalName="Effective_x0020_Date" ma:readOnly="false">
      <xsd:simpleType>
        <xsd:restriction base="dms:DateTime"/>
      </xsd:simpleType>
    </xsd:element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7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82B6EE8-C254-46D8-B719-CBC435CC2CCE}">
  <ds:schemaRefs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www.w3.org/XML/1998/namespace"/>
    <ds:schemaRef ds:uri="http://schemas.microsoft.com/office/2006/metadata/properties"/>
    <ds:schemaRef ds:uri="97533b70-e757-4cf6-af5c-839a20f491f3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EB790475-111E-476B-B4AF-E84962BBE62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E4BE71E-60FF-4ADC-942F-B2E9C680F66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7533b70-e757-4cf6-af5c-839a20f491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13</TotalTime>
  <Words>311</Words>
  <Application>Microsoft Office PowerPoint</Application>
  <PresentationFormat>On-screen Show (4:3)</PresentationFormat>
  <Paragraphs>27</Paragraphs>
  <Slides>5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8" baseType="lpstr">
      <vt:lpstr>Arial</vt:lpstr>
      <vt:lpstr>Calibri</vt:lpstr>
      <vt:lpstr>Office Theme</vt:lpstr>
      <vt:lpstr>Supplier View of Supplier Profile – TSCMT 5.12 Scope: Displays and explains content of the supplier profile</vt:lpstr>
      <vt:lpstr>PowerPoint Presentation</vt:lpstr>
      <vt:lpstr>PowerPoint Presentation</vt:lpstr>
      <vt:lpstr>PowerPoint Presentation</vt:lpstr>
      <vt:lpstr>PowerPoint Presentation</vt:lpstr>
    </vt:vector>
  </TitlesOfParts>
  <Company>Triumph Aerostructures - Vought Aircraft Divi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ot, Frank</dc:creator>
  <cp:lastModifiedBy>Willford, Eric</cp:lastModifiedBy>
  <cp:revision>143</cp:revision>
  <dcterms:created xsi:type="dcterms:W3CDTF">2013-02-27T15:23:51Z</dcterms:created>
  <dcterms:modified xsi:type="dcterms:W3CDTF">2018-02-23T21:04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F10189AE8F8BA40A42DB299DC54A450</vt:lpwstr>
  </property>
</Properties>
</file>